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45"/>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Matrix By Channel" id="{7C4D2B2C-5E1F-46E3-8939-D630BF57967D}">
          <p14:sldIdLst>
            <p14:sldId id="2147475169"/>
            <p14:sldId id="2147475170"/>
            <p14:sldId id="2147475171"/>
            <p14:sldId id="2147475172"/>
          </p14:sldIdLst>
        </p14:section>
        <p14:section name="Mix Matrix By Region" id="{9F66AD7B-363C-43FE-9BAF-681E198C59E3}">
          <p14:sldIdLst>
            <p14:sldId id="2147475173"/>
            <p14:sldId id="2147475174"/>
          </p14:sldIdLst>
        </p14:section>
        <p14:section name="Mix Matrix By Custom Region" id="{B56D87D9-CB79-4337-8FB6-72F9ECBC46AB}">
          <p14:sldIdLst>
            <p14:sldId id="2147475175"/>
            <p14:sldId id="2147475176"/>
          </p14:sldIdLst>
        </p14:section>
        <p14:section name="Mix Matrix By Brands by Sector" id="{E0E3717D-91C3-401E-AB50-47FEA3D761A2}">
          <p14:sldIdLst>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Lst>
        </p14:section>
        <p14:section name="Mix Matrix By Brands by Segment" id="{C7E4C632-3630-414E-ADD9-6126408CA3A4}">
          <p14:sldIdLst>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58"/>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Vol (NS/Vol) and Gross Margin (GM%) | Client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595551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10340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578007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56888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776810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00718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269554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977709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167775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82948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650244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Vol (NS/Vol) and Gross Margin (GM%) | Client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649407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353521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459123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04317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816244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823817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682690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913287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173197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342575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175025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Vol (NS/Vol) and Gross Margin (GM%) | Client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037434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160228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382073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672972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08773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521664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479289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292720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924075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613543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94896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Vol (NS/Vol) and Gross Margin (GM%) | Client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702863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08948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Vol (NS/Vol) and Gross Margin (GM%) | Client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09863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Vol (NS/Vol) and Gross Margin (GM%) | Client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46845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Vol (NS/Vol) and Gross Margin (GM%) | Client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377142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Vol (NS/Vol) and Gross Margin (GM%) | Client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91753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15217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2</TotalTime>
  <Words>68968</Words>
  <Application>Microsoft Office PowerPoint</Application>
  <PresentationFormat>On-screen Show (16:9)</PresentationFormat>
  <Paragraphs>26240</Paragraphs>
  <Slides>4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9" baseType="lpstr">
      <vt:lpstr>Aptos</vt:lpstr>
      <vt:lpstr>Arial</vt:lpstr>
      <vt:lpstr>Nexa</vt:lpstr>
      <vt:lpstr>Nexa Bold</vt:lpstr>
      <vt:lpstr>Nexa Book</vt:lpstr>
      <vt:lpstr>Nexa Book Italic</vt:lpstr>
      <vt:lpstr>Open Sans</vt:lpstr>
      <vt:lpstr>PricingOne Light Template Oct 2024</vt:lpstr>
      <vt:lpstr>think-cell Slide</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6</cp:revision>
  <dcterms:created xsi:type="dcterms:W3CDTF">2024-07-05T15:31:56Z</dcterms:created>
  <dcterms:modified xsi:type="dcterms:W3CDTF">2025-09-15T11: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